
<file path=[Content_Types].xml><?xml version="1.0" encoding="utf-8"?>
<Types xmlns="http://schemas.openxmlformats.org/package/2006/content-types">
  <Default ContentType="image/svg+xml" Extension="svg"/>
  <Default ContentType="application/xml" Extension="xml"/>
  <Default ContentType="image/png" Extension="png"/>
  <Default ContentType="image/jpeg" Extension="jpeg"/>
  <Default ContentType="application/vnd.openxmlformats-package.relationships+xml" Extension="rels"/>
  <Override ContentType="application/vnd.openxmlformats-officedocument.presentationml.slideMaster+xml" PartName="/ppt/slideMasters/slideMaster2.xml"/>
  <Override ContentType="application/vnd.openxmlformats-officedocument.presentationml.slideMaster+xml" PartName="/ppt/slideMasters/slideMaster1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8.xml"/>
  <Override ContentType="application/vnd.openxmlformats-officedocument.presentationml.slide+xml" PartName="/ppt/slides/slide4.xml"/>
  <Override ContentType="application/vnd.openxmlformats-officedocument.presentationml.slide+xml" PartName="/ppt/slides/slide11.xml"/>
  <Override ContentType="application/vnd.openxmlformats-officedocument.presentationml.slide+xml" PartName="/ppt/slides/slide1.xml"/>
  <Override ContentType="application/vnd.openxmlformats-officedocument.presentationml.slide+xml" PartName="/ppt/slides/slide3.xml"/>
  <Override ContentType="application/vnd.openxmlformats-officedocument.presentationml.slide+xml" PartName="/ppt/slides/slide13.xml"/>
  <Override ContentType="application/vnd.openxmlformats-officedocument.presentationml.slide+xml" PartName="/ppt/slides/slide9.xml"/>
  <Override ContentType="application/vnd.openxmlformats-officedocument.presentationml.slide+xml" PartName="/ppt/slides/slide5.xml"/>
  <Override ContentType="application/vnd.openxmlformats-officedocument.presentationml.slide+xml" PartName="/ppt/slides/slide7.xml"/>
  <Override ContentType="application/vnd.openxmlformats-officedocument.presentationml.slide+xml" PartName="/ppt/slides/slide12.xml"/>
  <Override ContentType="application/vnd.openxmlformats-officedocument.presentationml.slide+xml" PartName="/ppt/slides/slide10.xml"/>
  <Override ContentType="application/vnd.openxmlformats-officedocument.presentationml.slide+xml" PartName="/ppt/slides/slide2.xml"/>
  <Override ContentType="application/vnd.openxmlformats-officedocument.presentationml.slide+xml" PartName="/ppt/slides/slide6.xml"/>
  <Override ContentType="application/vnd.openxmlformats-officedocument.presentationml.slide+xml" PartName="/ppt/slides/slide8.xml"/>
  <Override ContentType="application/vnd.openxmlformats-officedocument.presentationml.notesMaster+xml" PartName="/ppt/notesMasters/notesMaster1.xml"/>
  <Override ContentType="application/vnd.openxmlformats-officedocument.presentationml.presentation.main+xml" PartName="/ppt/presentation.xml"/>
  <Override ContentType="application/vnd.openxmlformats-officedocument.presentationml.presProps+xml" PartName="/ppt/presProps1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theme+xml" PartName="/ppt/theme/theme3.xml"/>
  <Override ContentType="application/vnd.openxmlformats-officedocument.presentationml.tags+xml" PartName="/ppt/tags/tag2.xml"/>
  <Override ContentType="application/vnd.openxmlformats-officedocument.presentationml.tags+xml" PartName="/ppt/tags/tag1.xml"/>
  <Override ContentType="application/vnd.openxmlformats-officedocument.presentationml.tags+xml" PartName="/ppt/tags/tag3.xml"/>
  <Override ContentType="application/vnd.openxmlformats-officedocument.presentationml.viewProps+xml" PartName="/ppt/viewProps1.xml"/>
</Types>
</file>

<file path=_rels/.rels><?xml version="1.0" encoding="UTF-8" standalone="yes"?><Relationships xmlns="http://schemas.openxmlformats.org/package/2006/relationships"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autoCompressPictures="0" strictFirstAndLastChars="0" saveSubsetFonts="1" showSpecialPlsOnTitleSld="0">
  <p:sldMasterIdLst>
    <p:sldMasterId id="2147483648" r:id="rId4"/>
    <p:sldMasterId id="2147483649" r:id="rId5"/>
  </p:sldMasterIdLst>
  <p:notesMasterIdLst>
    <p:notesMasterId r:id="rId6"/>
  </p:notesMasterIdLst>
  <p:sldIdLst>
    <p:sldId id="256" r:id="rId7"/>
    <p:sldId id="257" r:id="rId8"/>
    <p:sldId id="258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66" r:id="rId17"/>
    <p:sldId id="267" r:id="rId18"/>
    <p:sldId id="268" r:id="rId19"/>
  </p:sldIdLst>
  <p:sldSz cy="6858000" cx="9144000"/>
  <p:notesSz cx="6797675" cy="9926625"/>
  <p:defaultTextStyle>
    <a:defPPr lvl="0">
      <a:defRPr lang="en-US"/>
    </a:defPPr>
    <a:lvl1pPr defTabSz="457200" eaLnBrk="1" hangingPunct="1" latinLnBrk="0" lvl="0" marL="0" rtl="0" algn="l">
      <a:defRPr kern="1200" sz="1800">
        <a:solidFill>
          <a:schemeClr val="tx1"/>
        </a:solidFill>
        <a:latin typeface="+mn-lt"/>
        <a:ea typeface="+mn-ea"/>
        <a:cs typeface="+mn-cs"/>
      </a:defRPr>
    </a:lvl1pPr>
    <a:lvl2pPr defTabSz="457200" eaLnBrk="1" hangingPunct="1" latinLnBrk="0" lvl="1" marL="457200" rtl="0" algn="l">
      <a:defRPr kern="1200" sz="1800">
        <a:solidFill>
          <a:schemeClr val="tx1"/>
        </a:solidFill>
        <a:latin typeface="+mn-lt"/>
        <a:ea typeface="+mn-ea"/>
        <a:cs typeface="+mn-cs"/>
      </a:defRPr>
    </a:lvl2pPr>
    <a:lvl3pPr defTabSz="457200" eaLnBrk="1" hangingPunct="1" latinLnBrk="0" lvl="2" marL="914400" rtl="0" algn="l">
      <a:defRPr kern="1200" sz="1800">
        <a:solidFill>
          <a:schemeClr val="tx1"/>
        </a:solidFill>
        <a:latin typeface="+mn-lt"/>
        <a:ea typeface="+mn-ea"/>
        <a:cs typeface="+mn-cs"/>
      </a:defRPr>
    </a:lvl3pPr>
    <a:lvl4pPr defTabSz="457200" eaLnBrk="1" hangingPunct="1" latinLnBrk="0" lvl="3" marL="1371600" rtl="0" algn="l">
      <a:defRPr kern="1200" sz="1800">
        <a:solidFill>
          <a:schemeClr val="tx1"/>
        </a:solidFill>
        <a:latin typeface="+mn-lt"/>
        <a:ea typeface="+mn-ea"/>
        <a:cs typeface="+mn-cs"/>
      </a:defRPr>
    </a:lvl4pPr>
    <a:lvl5pPr defTabSz="457200" eaLnBrk="1" hangingPunct="1" latinLnBrk="0" lvl="4" marL="1828800" rtl="0" algn="l">
      <a:defRPr kern="1200" sz="1800">
        <a:solidFill>
          <a:schemeClr val="tx1"/>
        </a:solidFill>
        <a:latin typeface="+mn-lt"/>
        <a:ea typeface="+mn-ea"/>
        <a:cs typeface="+mn-cs"/>
      </a:defRPr>
    </a:lvl5pPr>
    <a:lvl6pPr defTabSz="457200" eaLnBrk="1" hangingPunct="1" latinLnBrk="0" lvl="5" marL="2286000" rtl="0" algn="l">
      <a:defRPr kern="1200" sz="1800">
        <a:solidFill>
          <a:schemeClr val="tx1"/>
        </a:solidFill>
        <a:latin typeface="+mn-lt"/>
        <a:ea typeface="+mn-ea"/>
        <a:cs typeface="+mn-cs"/>
      </a:defRPr>
    </a:lvl6pPr>
    <a:lvl7pPr defTabSz="457200" eaLnBrk="1" hangingPunct="1" latinLnBrk="0" lvl="6" marL="2743200" rtl="0" algn="l">
      <a:defRPr kern="1200" sz="1800">
        <a:solidFill>
          <a:schemeClr val="tx1"/>
        </a:solidFill>
        <a:latin typeface="+mn-lt"/>
        <a:ea typeface="+mn-ea"/>
        <a:cs typeface="+mn-cs"/>
      </a:defRPr>
    </a:lvl7pPr>
    <a:lvl8pPr defTabSz="457200" eaLnBrk="1" hangingPunct="1" latinLnBrk="0" lvl="7" marL="3200400" rtl="0" algn="l">
      <a:defRPr kern="1200" sz="1800">
        <a:solidFill>
          <a:schemeClr val="tx1"/>
        </a:solidFill>
        <a:latin typeface="+mn-lt"/>
        <a:ea typeface="+mn-ea"/>
        <a:cs typeface="+mn-cs"/>
      </a:defRPr>
    </a:lvl8pPr>
    <a:lvl9pPr defTabSz="457200" eaLnBrk="1" hangingPunct="1" latinLnBrk="0" lvl="8" marL="3657600" rtl="0" algn="l">
      <a:defRPr kern="1200"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>
        <p15:guide id="1" orient="horz" pos="1344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4320">
          <p15:clr>
            <a:srgbClr val="A4A3A4"/>
          </p15:clr>
        </p15:guide>
      </p15:sldGuideLst>
    </p:ext>
  </p:extLst>
</p:presentation>
</file>

<file path=ppt/presProps1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/>
</file>

<file path=ppt/viewProps1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showComments="0">
  <p:slideViewPr>
    <p:cSldViewPr snapToGrid="0">
      <p:cViewPr varScale="1">
        <p:scale>
          <a:sx n="100" d="100"/>
          <a:sy n="100" d="100"/>
        </p:scale>
        <p:origin x="0" y="0"/>
      </p:cViewPr>
      <p:guideLst>
        <p:guide pos="1344" orient="horz"/>
        <p:guide pos="2880"/>
        <p:guide pos="4320" orient="horz"/>
      </p:guideLst>
    </p:cSldViewPr>
  </p:slideViewPr>
</p:viewPr>
</file>

<file path=ppt/_rels/presentation.xml.rels><?xml version="1.0" encoding="UTF-8" standalone="yes"?><Relationships xmlns="http://schemas.openxmlformats.org/package/2006/relationships"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3" Type="http://schemas.openxmlformats.org/officeDocument/2006/relationships/slide" Target="slides/slide7.xml"/><Relationship Id="rId12" Type="http://schemas.openxmlformats.org/officeDocument/2006/relationships/slide" Target="slides/slide6.xml"/><Relationship Id="rId1" Type="http://schemas.openxmlformats.org/officeDocument/2006/relationships/theme" Target="theme/theme1.xml"/><Relationship Id="rId2" Type="http://schemas.openxmlformats.org/officeDocument/2006/relationships/viewProps" Target="viewProps1.xml"/><Relationship Id="rId3" Type="http://schemas.openxmlformats.org/officeDocument/2006/relationships/presProps" Target="presProps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5" Type="http://schemas.openxmlformats.org/officeDocument/2006/relationships/slide" Target="slides/slide9.xml"/><Relationship Id="rId14" Type="http://schemas.openxmlformats.org/officeDocument/2006/relationships/slide" Target="slides/slide8.xml"/><Relationship Id="rId17" Type="http://schemas.openxmlformats.org/officeDocument/2006/relationships/slide" Target="slides/slide11.xml"/><Relationship Id="rId16" Type="http://schemas.openxmlformats.org/officeDocument/2006/relationships/slide" Target="slides/slide10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3.xml"/><Relationship Id="rId6" Type="http://schemas.openxmlformats.org/officeDocument/2006/relationships/notesMaster" Target="notesMasters/notesMaster1.xml"/><Relationship Id="rId18" Type="http://schemas.openxmlformats.org/officeDocument/2006/relationships/slide" Target="slides/slide12.xml"/><Relationship Id="rId7" Type="http://schemas.openxmlformats.org/officeDocument/2006/relationships/slide" Target="slides/slide1.xml"/><Relationship Id="rId8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45659" cy="498056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2"/>
            <a:ext cx="2945659" cy="498056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586841C1-8CFC-4A10-86DC-E5C8C15AD1D5}" type="datetimeFigureOut">
              <a:rPr lang="ru-RU" smtClean="0"/>
              <a:t>23.1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6" rIns="91430" bIns="4571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4"/>
          </a:xfrm>
          <a:prstGeom prst="rect">
            <a:avLst/>
          </a:prstGeom>
        </p:spPr>
        <p:txBody>
          <a:bodyPr vert="horz" lIns="91430" tIns="45716" rIns="91430" bIns="4571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28587"/>
            <a:ext cx="2945659" cy="498055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428587"/>
            <a:ext cx="2945659" cy="498055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79A85C2C-2C20-40C6-9386-811BECB7922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70967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авительство 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0029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15335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20549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02978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63526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06049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48733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авительство НО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80650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авительство НО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52602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55710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05610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93490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63529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73440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1291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685800" y="1285540"/>
            <a:ext cx="8750122" cy="0"/>
          </a:xfrm>
          <a:prstGeom prst="line">
            <a:avLst/>
          </a:prstGeom>
          <a:ln w="28575">
            <a:solidFill>
              <a:srgbClr val="F348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4631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65" r:id="rId3"/>
    <p:sldLayoutId id="2147483666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rgbClr val="004B57"/>
          </a:solidFill>
          <a:latin typeface="Fedra Sans Pro Medium" panose="020B06040400000200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rgbClr val="004B57"/>
          </a:solidFill>
          <a:latin typeface="Fedra Sans Pro Book" panose="020B05040400000200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4B57"/>
          </a:solidFill>
          <a:latin typeface="Fedra Sans Pro Book" panose="020B05040400000200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4B57"/>
          </a:solidFill>
          <a:latin typeface="Fedra Sans Pro Book" panose="020B05040400000200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4B57"/>
          </a:solidFill>
          <a:latin typeface="Fedra Sans Pro Book" panose="020B05040400000200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4B57"/>
          </a:solidFill>
          <a:latin typeface="Fedra Sans Pro Book" panose="020B05040400000200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094FAB-1076-432D-83D5-95EF1DA8B6C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0991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britin@mail.ru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hyperlink" Target="mailto:searchnow@list.ru" TargetMode="External"/><Relationship Id="rId5" Type="http://schemas.openxmlformats.org/officeDocument/2006/relationships/hyperlink" Target="mailto:ei.bolshakov@novreg.ru" TargetMode="External"/><Relationship Id="rId4" Type="http://schemas.openxmlformats.org/officeDocument/2006/relationships/hyperlink" Target="http://185.189.14.76/digitalnovgorod/NOVOBL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sv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jpeg"/><Relationship Id="rId5" Type="http://schemas.openxmlformats.org/officeDocument/2006/relationships/image" Target="../media/image6.sv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sv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19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</a:t>
            </a:r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ОБЛАСТИ</a:t>
            </a:r>
          </a:p>
          <a:p>
            <a:pPr algn="ctr"/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67000"/>
            <a:ext cx="9144000" cy="4572000"/>
          </a:xfrm>
          <a:prstGeom prst="rect">
            <a:avLst/>
          </a:prstGeom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552576" y="1514103"/>
            <a:ext cx="7323242" cy="25754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ru-RU" sz="36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ПОРТ РЕШЕНИЯ</a:t>
            </a:r>
          </a:p>
          <a:p>
            <a:pPr algn="r"/>
            <a:r>
              <a:rPr lang="ru-RU" sz="18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доступности первичной медицинской помощи за счет использования данных</a:t>
            </a:r>
            <a:endParaRPr lang="ru-RU" sz="1800" b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ru-RU" sz="1800" b="1" i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4305300" y="3676278"/>
            <a:ext cx="4570518" cy="25754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ru-RU" sz="20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а Новгородской области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552700" y="4218831"/>
            <a:ext cx="6323117" cy="25754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ru-RU" sz="11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ники:</a:t>
            </a:r>
          </a:p>
          <a:p>
            <a:pPr algn="r"/>
            <a:r>
              <a:rPr lang="ru-RU" sz="1600" b="1" dirty="0" err="1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итин</a:t>
            </a:r>
            <a:r>
              <a:rPr lang="ru-RU" sz="16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митрий</a:t>
            </a:r>
          </a:p>
          <a:p>
            <a:pPr algn="r"/>
            <a:r>
              <a:rPr lang="ru-RU" sz="16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ьшаков Евгений</a:t>
            </a:r>
          </a:p>
          <a:p>
            <a:pPr algn="r"/>
            <a:r>
              <a:rPr lang="ru-RU" sz="16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язанцев Пётр</a:t>
            </a:r>
            <a:r>
              <a:rPr lang="ru-RU" sz="20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4762500" y="4067175"/>
            <a:ext cx="4113317" cy="0"/>
          </a:xfrm>
          <a:prstGeom prst="line">
            <a:avLst/>
          </a:prstGeom>
          <a:ln>
            <a:solidFill>
              <a:srgbClr val="F3484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Заголовок 1"/>
          <p:cNvSpPr txBox="1">
            <a:spLocks/>
          </p:cNvSpPr>
          <p:nvPr/>
        </p:nvSpPr>
        <p:spPr>
          <a:xfrm>
            <a:off x="2419350" y="5771406"/>
            <a:ext cx="6323117" cy="25754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r"/>
            <a:r>
              <a:rPr lang="ru-RU" sz="11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сылка:</a:t>
            </a:r>
          </a:p>
          <a:p>
            <a:pPr algn="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</a:rPr>
              <a:t>https://</a:t>
            </a:r>
            <a:r>
              <a:rPr lang="en-US" sz="10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t.asi.ru/dmitry_britin/medicineaccess</a:t>
            </a:r>
            <a:r>
              <a:rPr lang="ru-RU" sz="10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r"/>
            <a:r>
              <a:rPr lang="en-US" sz="1100" b="1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://185.189.14.76/digitalnovgorod/NOVOBL/#</a:t>
            </a:r>
            <a:endParaRPr lang="ru-RU" sz="1100" b="1" dirty="0" smtClean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4920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 smtClean="0">
                <a:solidFill>
                  <a:schemeClr val="bg1">
                    <a:lumMod val="75000"/>
                  </a:schemeClr>
                </a:solidFill>
              </a:rPr>
              <a:t>0</a:t>
            </a:r>
            <a:r>
              <a:rPr lang="ru-RU" altLang="ru-RU" sz="5000" dirty="0" smtClean="0">
                <a:solidFill>
                  <a:srgbClr val="F34840"/>
                </a:solidFill>
              </a:rPr>
              <a:t>9</a:t>
            </a:r>
            <a:endParaRPr lang="ru-RU" altLang="ru-RU" sz="5000" dirty="0">
              <a:solidFill>
                <a:srgbClr val="F34840"/>
              </a:solidFill>
            </a:endParaRPr>
          </a:p>
        </p:txBody>
      </p:sp>
      <p:sp>
        <p:nvSpPr>
          <p:cNvPr id="16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756138" y="1360631"/>
            <a:ext cx="7536962" cy="50799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 И НЕДОСТАТКИ РЕШЕНИЯ</a:t>
            </a:r>
            <a:endParaRPr lang="ru-RU" sz="1800" b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ColumnContent">
            <a:extLst>
              <a:ext uri="{FF2B5EF4-FFF2-40B4-BE49-F238E27FC236}">
                <a16:creationId xmlns="" xmlns:a16="http://schemas.microsoft.com/office/drawing/2014/main" id="{64C57403-F0B4-42DE-A315-5C9086C561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6383" y="1360632"/>
            <a:ext cx="8175825" cy="37084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lvl="0">
              <a:buClr>
                <a:srgbClr val="C00000"/>
              </a:buClr>
            </a:pPr>
            <a:endParaRPr lang="en-US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8975" lvl="2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</a:t>
            </a:r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ОБЛАСТИ</a:t>
            </a:r>
          </a:p>
          <a:p>
            <a:pPr algn="ctr"/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ColumnContent">
            <a:extLst>
              <a:ext uri="{FF2B5EF4-FFF2-40B4-BE49-F238E27FC236}">
                <a16:creationId xmlns:a16="http://schemas.microsoft.com/office/drawing/2014/main" xmlns="" id="{6DC21193-5D3A-49A5-A3E7-EE3C7BE1D0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38594" y="1855892"/>
            <a:ext cx="7254506" cy="135894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0" rIns="0" bIns="0"/>
          <a:lstStyle/>
          <a:p>
            <a:pPr marL="571500" lvl="1" indent="-4572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ru-RU" dirty="0"/>
          </a:p>
          <a:p>
            <a:pPr marL="192088" indent="-171450" algn="just">
              <a:buFontTx/>
              <a:buChar char="-"/>
            </a:pPr>
            <a:endParaRPr lang="ru-RU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B1A9E967-AA29-4192-92E5-11A1DFF10CA0}"/>
              </a:ext>
            </a:extLst>
          </p:cNvPr>
          <p:cNvSpPr/>
          <p:nvPr/>
        </p:nvSpPr>
        <p:spPr>
          <a:xfrm>
            <a:off x="3321194" y="3306809"/>
            <a:ext cx="5256585" cy="698255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 algn="just">
              <a:buClr>
                <a:srgbClr val="C00000"/>
              </a:buClr>
            </a:pP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полняет требования открытости исходного кода</a:t>
            </a:r>
            <a:endPara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14300" lvl="1" algn="just">
              <a:buClr>
                <a:srgbClr val="C00000"/>
              </a:buClr>
            </a:pPr>
            <a:endPara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669DF2CC-E441-4AEF-8BEE-CBB4E8BDCF2A}"/>
              </a:ext>
            </a:extLst>
          </p:cNvPr>
          <p:cNvSpPr/>
          <p:nvPr/>
        </p:nvSpPr>
        <p:spPr>
          <a:xfrm>
            <a:off x="3275855" y="2247701"/>
            <a:ext cx="5256583" cy="911053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сштабируемо после верификации кода относительно НПА региона и информационных систем региона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xmlns="" id="{E9860B72-1BBD-458B-9C71-DF3ACF335222}"/>
              </a:ext>
            </a:extLst>
          </p:cNvPr>
          <p:cNvSpPr/>
          <p:nvPr/>
        </p:nvSpPr>
        <p:spPr>
          <a:xfrm>
            <a:off x="3092685" y="2097073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1</a:t>
            </a: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xmlns="" id="{77A3B25B-EFED-4EDD-81C4-69194C1671EF}"/>
              </a:ext>
            </a:extLst>
          </p:cNvPr>
          <p:cNvSpPr/>
          <p:nvPr/>
        </p:nvSpPr>
        <p:spPr>
          <a:xfrm>
            <a:off x="3114766" y="3144280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CA2E5700-AADF-4E0A-AF63-38B0A189C018}"/>
              </a:ext>
            </a:extLst>
          </p:cNvPr>
          <p:cNvSpPr/>
          <p:nvPr/>
        </p:nvSpPr>
        <p:spPr>
          <a:xfrm>
            <a:off x="3305319" y="4197166"/>
            <a:ext cx="5256584" cy="751746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14300" lvl="1" algn="just">
              <a:buClr>
                <a:srgbClr val="C00000"/>
              </a:buClr>
            </a:pP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граммные интерфейсы спроектированы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частично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xmlns="" id="{794740EA-200F-4D23-82A9-07F9D0B1E463}"/>
              </a:ext>
            </a:extLst>
          </p:cNvPr>
          <p:cNvSpPr/>
          <p:nvPr/>
        </p:nvSpPr>
        <p:spPr>
          <a:xfrm>
            <a:off x="3144231" y="4141604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</a:t>
            </a:r>
          </a:p>
        </p:txBody>
      </p:sp>
      <p:pic>
        <p:nvPicPr>
          <p:cNvPr id="5123" name="Picture 3" descr="C:\Users\ПК\Dropbox\ГосУправление\Цифровые решения для регионов\Kreditnaya-karta-renessans-kredit-ris-3-min-e1533819773803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933" y="2679810"/>
            <a:ext cx="1929728" cy="1893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9174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 smtClean="0">
                <a:solidFill>
                  <a:srgbClr val="F34840"/>
                </a:solidFill>
              </a:rPr>
              <a:t>10</a:t>
            </a:r>
            <a:endParaRPr lang="ru-RU" altLang="ru-RU" sz="5000" dirty="0">
              <a:solidFill>
                <a:srgbClr val="F34840"/>
              </a:solidFill>
            </a:endParaRPr>
          </a:p>
        </p:txBody>
      </p:sp>
      <p:sp>
        <p:nvSpPr>
          <p:cNvPr id="16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716383" y="1253629"/>
            <a:ext cx="7536962" cy="50799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ВОДЫ</a:t>
            </a:r>
            <a:endParaRPr lang="ru-RU" sz="1800" b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ColumnContent">
            <a:extLst>
              <a:ext uri="{FF2B5EF4-FFF2-40B4-BE49-F238E27FC236}">
                <a16:creationId xmlns="" xmlns:a16="http://schemas.microsoft.com/office/drawing/2014/main" id="{64C57403-F0B4-42DE-A315-5C9086C561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6383" y="1360632"/>
            <a:ext cx="8175825" cy="37084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lvl="0">
              <a:buClr>
                <a:srgbClr val="C00000"/>
              </a:buClr>
            </a:pPr>
            <a:endParaRPr lang="en-US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8975" lvl="2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</a:t>
            </a:r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ОБЛАСТИ</a:t>
            </a:r>
          </a:p>
          <a:p>
            <a:pPr algn="ctr"/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ColumnContent">
            <a:extLst>
              <a:ext uri="{FF2B5EF4-FFF2-40B4-BE49-F238E27FC236}">
                <a16:creationId xmlns:a16="http://schemas.microsoft.com/office/drawing/2014/main" xmlns="" id="{6DC21193-5D3A-49A5-A3E7-EE3C7BE1D0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38594" y="1989242"/>
            <a:ext cx="7254506" cy="135894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0" rIns="0" bIns="0"/>
          <a:lstStyle/>
          <a:p>
            <a:pPr marL="571500" lvl="1" indent="-4572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07D7AA50-30E7-48D2-9976-1AE5517968FC}"/>
              </a:ext>
            </a:extLst>
          </p:cNvPr>
          <p:cNvSpPr/>
          <p:nvPr/>
        </p:nvSpPr>
        <p:spPr>
          <a:xfrm>
            <a:off x="702234" y="1707896"/>
            <a:ext cx="8189974" cy="612000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 algn="just"/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ифровое решение после устранения замечаний может использоваться в качестве помощника при принятии решения по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ранспортировке 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ациентов</a:t>
            </a:r>
          </a:p>
          <a:p>
            <a:pPr algn="just"/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D78D3638-25AE-49E2-916A-67AA3AE6676B}"/>
              </a:ext>
            </a:extLst>
          </p:cNvPr>
          <p:cNvSpPr/>
          <p:nvPr/>
        </p:nvSpPr>
        <p:spPr>
          <a:xfrm>
            <a:off x="702234" y="2476606"/>
            <a:ext cx="8189974" cy="448338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>
              <a:buClr>
                <a:srgbClr val="C00000"/>
              </a:buClr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обходима верификаци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я цифрового кода в отношении НПА региона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xmlns="" id="{33DE7188-90D6-4BF2-A703-929647D46CC0}"/>
              </a:ext>
            </a:extLst>
          </p:cNvPr>
          <p:cNvSpPr/>
          <p:nvPr/>
        </p:nvSpPr>
        <p:spPr>
          <a:xfrm>
            <a:off x="475795" y="1616354"/>
            <a:ext cx="322177" cy="2905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1</a:t>
            </a: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xmlns="" id="{C3BD025E-E662-4E88-98A6-DD0640F9CB37}"/>
              </a:ext>
            </a:extLst>
          </p:cNvPr>
          <p:cNvSpPr/>
          <p:nvPr/>
        </p:nvSpPr>
        <p:spPr>
          <a:xfrm>
            <a:off x="456146" y="2325978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80" y="4200522"/>
            <a:ext cx="5184399" cy="26574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7615" y="4054700"/>
            <a:ext cx="3456385" cy="2779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D78D3638-25AE-49E2-916A-67AA3AE6676B}"/>
              </a:ext>
            </a:extLst>
          </p:cNvPr>
          <p:cNvSpPr/>
          <p:nvPr/>
        </p:nvSpPr>
        <p:spPr>
          <a:xfrm>
            <a:off x="702234" y="3112086"/>
            <a:ext cx="8189974" cy="892050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>
              <a:buClr>
                <a:srgbClr val="C00000"/>
              </a:buClr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недрение цифрового решения целесообразно на территории субъекта РФ, регламент работы СМП и НПА которого соответствует техническому заданию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xmlns="" id="{C3BD025E-E662-4E88-98A6-DD0640F9CB37}"/>
              </a:ext>
            </a:extLst>
          </p:cNvPr>
          <p:cNvSpPr/>
          <p:nvPr/>
        </p:nvSpPr>
        <p:spPr>
          <a:xfrm>
            <a:off x="475196" y="2976330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9776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 smtClean="0">
                <a:solidFill>
                  <a:srgbClr val="F34840"/>
                </a:solidFill>
              </a:rPr>
              <a:t>11</a:t>
            </a:r>
            <a:endParaRPr lang="ru-RU" altLang="ru-RU" sz="5000" dirty="0">
              <a:solidFill>
                <a:srgbClr val="F34840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722D961E-AD5D-42BB-B69D-4B0519F98DDA}"/>
              </a:ext>
            </a:extLst>
          </p:cNvPr>
          <p:cNvSpPr txBox="1"/>
          <p:nvPr/>
        </p:nvSpPr>
        <p:spPr>
          <a:xfrm>
            <a:off x="682994" y="1393669"/>
            <a:ext cx="82225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"/>
            <a:r>
              <a:rPr lang="ru-RU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АКТЫ КОМАНДЫ</a:t>
            </a:r>
            <a:endParaRPr lang="ru-RU" b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</a:t>
            </a:r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ОБЛАСТИ</a:t>
            </a:r>
          </a:p>
          <a:p>
            <a:pPr algn="ctr"/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82994" y="954300"/>
            <a:ext cx="8061511" cy="5386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3600" dirty="0" smtClean="0">
              <a:solidFill>
                <a:schemeClr val="accent1"/>
              </a:solidFill>
              <a:latin typeface="Times New Roman" pitchFamily="18" charset="0"/>
              <a:ea typeface="Open Sans" panose="020B0606030504020204" pitchFamily="34" charset="0"/>
              <a:cs typeface="Times New Roman" pitchFamily="18" charset="0"/>
              <a:sym typeface="Arial"/>
            </a:endParaRPr>
          </a:p>
          <a:p>
            <a:endParaRPr lang="en-US" dirty="0" smtClean="0">
              <a:latin typeface="Times New Roman" pitchFamily="18" charset="0"/>
              <a:ea typeface="Open Sans" panose="020B0606030504020204" pitchFamily="34" charset="0"/>
              <a:cs typeface="Times New Roman" pitchFamily="18" charset="0"/>
              <a:sym typeface="Arial"/>
            </a:endParaRPr>
          </a:p>
          <a:p>
            <a:r>
              <a:rPr lang="ru-RU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Разработчик </a:t>
            </a:r>
            <a:r>
              <a:rPr lang="en-US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- </a:t>
            </a:r>
            <a:r>
              <a:rPr lang="ru-RU" dirty="0" err="1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Бритин</a:t>
            </a:r>
            <a:r>
              <a:rPr lang="ru-RU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 Дмитрий  </a:t>
            </a:r>
            <a:endParaRPr lang="en-US" dirty="0" smtClean="0">
              <a:latin typeface="Times New Roman" pitchFamily="18" charset="0"/>
              <a:ea typeface="Open Sans" panose="020B0606030504020204" pitchFamily="34" charset="0"/>
              <a:cs typeface="Times New Roman" pitchFamily="18" charset="0"/>
              <a:sym typeface="Arial"/>
            </a:endParaRPr>
          </a:p>
          <a:p>
            <a:endParaRPr lang="ru-RU" dirty="0" smtClean="0">
              <a:latin typeface="Times New Roman" pitchFamily="18" charset="0"/>
              <a:ea typeface="Open Sans" panose="020B0606030504020204" pitchFamily="34" charset="0"/>
              <a:cs typeface="Times New Roman" pitchFamily="18" charset="0"/>
              <a:sym typeface="Arial"/>
            </a:endParaRPr>
          </a:p>
          <a:p>
            <a:r>
              <a:rPr lang="ru-RU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Почта: </a:t>
            </a:r>
            <a:r>
              <a:rPr lang="en-US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  <a:hlinkClick r:id="rId3"/>
              </a:rPr>
              <a:t>britin@mail.ru</a:t>
            </a:r>
            <a:r>
              <a:rPr lang="en-US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, </a:t>
            </a:r>
            <a:endParaRPr lang="ru-RU" dirty="0" smtClean="0">
              <a:latin typeface="Times New Roman" pitchFamily="18" charset="0"/>
              <a:ea typeface="Open Sans" panose="020B0606030504020204" pitchFamily="34" charset="0"/>
              <a:cs typeface="Times New Roman" pitchFamily="18" charset="0"/>
              <a:sym typeface="Arial"/>
            </a:endParaRPr>
          </a:p>
          <a:p>
            <a:r>
              <a:rPr lang="ru-RU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Телефон: </a:t>
            </a:r>
            <a:r>
              <a:rPr lang="en-US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+7</a:t>
            </a:r>
            <a:r>
              <a:rPr lang="ru-RU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 (</a:t>
            </a:r>
            <a:r>
              <a:rPr lang="en-US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911</a:t>
            </a:r>
            <a:r>
              <a:rPr lang="ru-RU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) </a:t>
            </a:r>
            <a:r>
              <a:rPr lang="en-US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602</a:t>
            </a:r>
            <a:r>
              <a:rPr lang="ru-RU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-</a:t>
            </a:r>
            <a:r>
              <a:rPr lang="en-US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16</a:t>
            </a:r>
            <a:r>
              <a:rPr lang="ru-RU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-</a:t>
            </a:r>
            <a:r>
              <a:rPr lang="en-US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88</a:t>
            </a:r>
            <a:endParaRPr lang="ru-RU" dirty="0" smtClean="0">
              <a:latin typeface="Times New Roman" pitchFamily="18" charset="0"/>
              <a:ea typeface="Open Sans" panose="020B0606030504020204" pitchFamily="34" charset="0"/>
              <a:cs typeface="Times New Roman" pitchFamily="18" charset="0"/>
              <a:sym typeface="Arial"/>
            </a:endParaRPr>
          </a:p>
          <a:p>
            <a:r>
              <a:rPr lang="ru-RU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Проект: </a:t>
            </a:r>
            <a:r>
              <a:rPr lang="en-US" dirty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  <a:hlinkClick r:id="rId4"/>
              </a:rPr>
              <a:t>http://</a:t>
            </a:r>
            <a:r>
              <a:rPr lang="en-US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  <a:hlinkClick r:id="rId4"/>
              </a:rPr>
              <a:t>185.189.14.76/digitalnovgorod/NOVOBL</a:t>
            </a:r>
            <a:endParaRPr lang="ru-RU" dirty="0" smtClean="0">
              <a:latin typeface="Times New Roman" pitchFamily="18" charset="0"/>
              <a:ea typeface="Open Sans" panose="020B0606030504020204" pitchFamily="34" charset="0"/>
              <a:cs typeface="Times New Roman" pitchFamily="18" charset="0"/>
              <a:sym typeface="Arial"/>
            </a:endParaRPr>
          </a:p>
          <a:p>
            <a:endParaRPr lang="ru-RU" dirty="0" smtClean="0">
              <a:latin typeface="Times New Roman" pitchFamily="18" charset="0"/>
              <a:ea typeface="Open Sans" panose="020B0606030504020204" pitchFamily="34" charset="0"/>
              <a:cs typeface="Times New Roman" pitchFamily="18" charset="0"/>
              <a:sym typeface="Arial"/>
            </a:endParaRPr>
          </a:p>
          <a:p>
            <a:r>
              <a:rPr lang="ru-RU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Участники от региона:</a:t>
            </a:r>
          </a:p>
          <a:p>
            <a:r>
              <a:rPr lang="ru-RU" dirty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Большаков Евгений Игоревич,</a:t>
            </a:r>
          </a:p>
          <a:p>
            <a:r>
              <a:rPr lang="ru-RU" dirty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заместитель министра-начальник отдела правовой и кадровой работы министерства здравоохранения Новгородской области </a:t>
            </a:r>
          </a:p>
          <a:p>
            <a:r>
              <a:rPr lang="ru-RU" dirty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8-8162-773-413, </a:t>
            </a:r>
            <a:r>
              <a:rPr lang="ru-RU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  <a:hlinkClick r:id="rId5"/>
              </a:rPr>
              <a:t>ei.bolshakov@novreg.ru</a:t>
            </a:r>
            <a:endParaRPr lang="ru-RU" dirty="0" smtClean="0">
              <a:latin typeface="Times New Roman" pitchFamily="18" charset="0"/>
              <a:ea typeface="Open Sans" panose="020B0606030504020204" pitchFamily="34" charset="0"/>
              <a:cs typeface="Times New Roman" pitchFamily="18" charset="0"/>
              <a:sym typeface="Arial"/>
            </a:endParaRPr>
          </a:p>
          <a:p>
            <a:r>
              <a:rPr lang="ru-RU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Рязанцев </a:t>
            </a:r>
            <a:r>
              <a:rPr lang="ru-RU" dirty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Петр Петрович, </a:t>
            </a:r>
            <a:r>
              <a:rPr lang="ru-RU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главный внештатный специалист министерства здравоохранения Новгородской области </a:t>
            </a:r>
            <a:r>
              <a:rPr lang="ru-RU" dirty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по </a:t>
            </a:r>
            <a:r>
              <a:rPr lang="ru-RU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внедрению </a:t>
            </a:r>
            <a:r>
              <a:rPr lang="ru-RU" dirty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современных </a:t>
            </a:r>
            <a:r>
              <a:rPr lang="ru-RU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информационных </a:t>
            </a:r>
            <a:r>
              <a:rPr lang="ru-RU" dirty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систем в здравоохранении </a:t>
            </a:r>
          </a:p>
          <a:p>
            <a:r>
              <a:rPr lang="ru-RU" dirty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</a:rPr>
              <a:t>8-8162- 642-335, </a:t>
            </a:r>
            <a:r>
              <a:rPr lang="ru-RU" dirty="0" smtClean="0"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  <a:sym typeface="Arial"/>
                <a:hlinkClick r:id="rId6"/>
              </a:rPr>
              <a:t>searchnow@list.ru</a:t>
            </a:r>
            <a:endParaRPr lang="ru-RU" dirty="0" smtClean="0">
              <a:latin typeface="Times New Roman" pitchFamily="18" charset="0"/>
              <a:ea typeface="Open Sans" panose="020B0606030504020204" pitchFamily="34" charset="0"/>
              <a:cs typeface="Times New Roman" pitchFamily="18" charset="0"/>
              <a:sym typeface="Arial"/>
            </a:endParaRPr>
          </a:p>
          <a:p>
            <a:endParaRPr lang="ru-RU" sz="2000" dirty="0" smtClean="0">
              <a:solidFill>
                <a:schemeClr val="accent1"/>
              </a:solidFill>
              <a:latin typeface="Times New Roman" pitchFamily="18" charset="0"/>
              <a:ea typeface="Open Sans" panose="020B0606030504020204" pitchFamily="34" charset="0"/>
              <a:cs typeface="Times New Roman" pitchFamily="18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55897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24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</a:t>
            </a:r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ОБЛАСТИ</a:t>
            </a:r>
          </a:p>
          <a:p>
            <a:pPr algn="ctr"/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BC29D85A-7961-1E4F-BA70-89C180D63C8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981" t="20765" r="14845" b="17814"/>
          <a:stretch/>
        </p:blipFill>
        <p:spPr>
          <a:xfrm>
            <a:off x="202183" y="1361893"/>
            <a:ext cx="8752953" cy="4720882"/>
          </a:xfrm>
          <a:prstGeom prst="rect">
            <a:avLst/>
          </a:prstGeom>
        </p:spPr>
      </p:pic>
      <p:sp>
        <p:nvSpPr>
          <p:cNvPr id="2" name="Скругленный прямоугольник 1"/>
          <p:cNvSpPr/>
          <p:nvPr/>
        </p:nvSpPr>
        <p:spPr>
          <a:xfrm>
            <a:off x="7924800" y="3722334"/>
            <a:ext cx="914400" cy="914400"/>
          </a:xfrm>
          <a:prstGeom prst="roundRect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9489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 smtClean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>
                <a:solidFill>
                  <a:srgbClr val="F34840"/>
                </a:solidFill>
              </a:rPr>
              <a:t>1</a:t>
            </a:r>
          </a:p>
        </p:txBody>
      </p:sp>
      <p:sp>
        <p:nvSpPr>
          <p:cNvPr id="16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707221" y="1368128"/>
            <a:ext cx="7536962" cy="81919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</a:t>
            </a:r>
            <a:endParaRPr lang="ru-RU" sz="1800" b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ColumnContent">
            <a:extLst>
              <a:ext uri="{FF2B5EF4-FFF2-40B4-BE49-F238E27FC236}">
                <a16:creationId xmlns="" xmlns:a16="http://schemas.microsoft.com/office/drawing/2014/main" id="{64C57403-F0B4-42DE-A315-5C9086C561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6383" y="1360632"/>
            <a:ext cx="8175825" cy="37084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lvl="0">
              <a:buClr>
                <a:srgbClr val="C00000"/>
              </a:buClr>
            </a:pPr>
            <a:endParaRPr lang="ru-RU" sz="24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buClr>
                <a:srgbClr val="C00000"/>
              </a:buClr>
            </a:pPr>
            <a:endParaRPr lang="ru-RU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buClr>
                <a:srgbClr val="C00000"/>
              </a:buClr>
            </a:pPr>
            <a:endParaRPr lang="ru-RU" sz="24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buClr>
                <a:srgbClr val="C00000"/>
              </a:buClr>
            </a:pPr>
            <a:endParaRPr lang="ru-RU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buClr>
                <a:srgbClr val="C00000"/>
              </a:buClr>
            </a:pPr>
            <a:endParaRPr lang="ru-RU" sz="24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buClr>
                <a:srgbClr val="C00000"/>
              </a:buClr>
            </a:pPr>
            <a:endParaRPr lang="ru-RU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buClr>
                <a:srgbClr val="C00000"/>
              </a:buClr>
            </a:pPr>
            <a:endParaRPr lang="en-US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8975" lvl="2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</a:t>
            </a:r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ОБЛАСТИ</a:t>
            </a:r>
          </a:p>
          <a:p>
            <a:pPr algn="ctr"/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ColumnContent">
            <a:extLst>
              <a:ext uri="{FF2B5EF4-FFF2-40B4-BE49-F238E27FC236}">
                <a16:creationId xmlns:a16="http://schemas.microsoft.com/office/drawing/2014/main" xmlns="" id="{6DC21193-5D3A-49A5-A3E7-EE3C7BE1D0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49732" y="1978845"/>
            <a:ext cx="6035613" cy="95913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0" rIns="0" bIns="0"/>
          <a:lstStyle/>
          <a:p>
            <a:pPr marL="0" lvl="1" algn="just"/>
            <a:endParaRPr lang="ru-RU" sz="1200" dirty="0"/>
          </a:p>
        </p:txBody>
      </p:sp>
      <p:sp>
        <p:nvSpPr>
          <p:cNvPr id="17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756138" y="3593187"/>
            <a:ext cx="7536962" cy="81919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</a:t>
            </a:r>
            <a:endParaRPr lang="ru-RU" sz="1800" b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ColumnContent">
            <a:extLst>
              <a:ext uri="{FF2B5EF4-FFF2-40B4-BE49-F238E27FC236}">
                <a16:creationId xmlns:a16="http://schemas.microsoft.com/office/drawing/2014/main" xmlns="" id="{6DC21193-5D3A-49A5-A3E7-EE3C7BE1D0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52908" y="4211945"/>
            <a:ext cx="6111875" cy="95913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0" rIns="0" bIns="0"/>
          <a:lstStyle/>
          <a:p>
            <a:pPr marL="342900" lvl="1" indent="-342900" algn="just">
              <a:buClr>
                <a:srgbClr val="C00000"/>
              </a:buClr>
              <a:buFont typeface="Arial" pitchFamily="34" charset="0"/>
              <a:buChar char="•"/>
            </a:pPr>
            <a:endParaRPr lang="ru-RU" sz="1200" dirty="0"/>
          </a:p>
          <a:p>
            <a:pPr marL="342900" indent="-342900" algn="just">
              <a:buFont typeface="Arial" pitchFamily="34" charset="0"/>
              <a:buChar char="•"/>
            </a:pPr>
            <a:endParaRPr lang="ru-RU" sz="1200" dirty="0" smtClean="0"/>
          </a:p>
          <a:p>
            <a:pPr marL="342900" indent="-342900" algn="just">
              <a:buFont typeface="Arial" pitchFamily="34" charset="0"/>
              <a:buChar char="•"/>
            </a:pPr>
            <a:endParaRPr lang="ru-RU" sz="1200" dirty="0"/>
          </a:p>
          <a:p>
            <a:pPr marL="342900" lvl="1" indent="-342900" algn="just">
              <a:buFont typeface="Arial" pitchFamily="34" charset="0"/>
              <a:buChar char="•"/>
            </a:pPr>
            <a:endParaRPr lang="ru-RU" sz="1200" dirty="0"/>
          </a:p>
        </p:txBody>
      </p:sp>
      <p:pic>
        <p:nvPicPr>
          <p:cNvPr id="1027" name="Picture 3" descr="C:\Users\ПК\Dropbox\ГосУправление\Цифровые решения для регионов\depositphotos_14116452-stock-photo-darts-hitting-a-targe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731" y="2084834"/>
            <a:ext cx="1198919" cy="992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ПК\Dropbox\ГосУправление\Цифровые решения для регионов\50e0179ea5da0892f532a3dfd792948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250" y="4271485"/>
            <a:ext cx="1460499" cy="146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2448758" y="1876145"/>
            <a:ext cx="6083681" cy="530106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птимизировать построение маршрутов СМП в зависимости от имеющейся транспортной ситуации (ремонт дорог, ЧС, пробки)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2477334" y="2536069"/>
            <a:ext cx="6083680" cy="517933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 algn="just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кратить временные затраты на доставку пациента к месту оказания специализированной медицинской помощи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2467472" y="3195393"/>
            <a:ext cx="6103403" cy="413532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 algn="just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ктуализация транспортных маршрутов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МП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xmlns="" id="{B0E1BC99-967C-4027-965E-6A08673CD080}"/>
              </a:ext>
            </a:extLst>
          </p:cNvPr>
          <p:cNvSpPr/>
          <p:nvPr/>
        </p:nvSpPr>
        <p:spPr>
          <a:xfrm>
            <a:off x="2296523" y="1725517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</a:t>
            </a: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xmlns="" id="{B0E1BC99-967C-4027-965E-6A08673CD080}"/>
              </a:ext>
            </a:extLst>
          </p:cNvPr>
          <p:cNvSpPr/>
          <p:nvPr/>
        </p:nvSpPr>
        <p:spPr>
          <a:xfrm>
            <a:off x="2316245" y="2385441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2</a:t>
            </a:r>
            <a:endParaRPr lang="ru-RU" sz="1200" dirty="0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xmlns="" id="{B0E1BC99-967C-4027-965E-6A08673CD080}"/>
              </a:ext>
            </a:extLst>
          </p:cNvPr>
          <p:cNvSpPr/>
          <p:nvPr/>
        </p:nvSpPr>
        <p:spPr>
          <a:xfrm>
            <a:off x="2287667" y="3007486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3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2490355" y="4302698"/>
            <a:ext cx="6083681" cy="402511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 algn="just">
              <a:buClr>
                <a:srgbClr val="C00000"/>
              </a:buClr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инимизация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шибок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 принятии решений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ршрутизации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ациента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2434469" y="4890710"/>
            <a:ext cx="6112257" cy="413532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 algn="just">
              <a:buClr>
                <a:srgbClr val="C00000"/>
              </a:buClr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корости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казания СМП</a:t>
            </a:r>
          </a:p>
          <a:p>
            <a:pPr marL="0" lvl="1" algn="just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xmlns="" id="{B0E1BC99-967C-4027-965E-6A08673CD080}"/>
              </a:ext>
            </a:extLst>
          </p:cNvPr>
          <p:cNvSpPr/>
          <p:nvPr/>
        </p:nvSpPr>
        <p:spPr>
          <a:xfrm>
            <a:off x="2316245" y="4143825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</a:t>
            </a:r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xmlns="" id="{B0E1BC99-967C-4027-965E-6A08673CD080}"/>
              </a:ext>
            </a:extLst>
          </p:cNvPr>
          <p:cNvSpPr/>
          <p:nvPr/>
        </p:nvSpPr>
        <p:spPr>
          <a:xfrm>
            <a:off x="2287668" y="4723185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2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481063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 smtClean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>
                <a:solidFill>
                  <a:srgbClr val="F34840"/>
                </a:solidFill>
              </a:rPr>
              <a:t>2</a:t>
            </a: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</a:t>
            </a:r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ОБЛАСТИ</a:t>
            </a:r>
          </a:p>
          <a:p>
            <a:pPr algn="ctr"/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746614" y="4239487"/>
            <a:ext cx="7536962" cy="81919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 ПОЗВОЛЯЕТ</a:t>
            </a:r>
          </a:p>
          <a:p>
            <a:endParaRPr lang="ru-RU" sz="1800" b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800" b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ColumnContent">
            <a:extLst>
              <a:ext uri="{FF2B5EF4-FFF2-40B4-BE49-F238E27FC236}">
                <a16:creationId xmlns:a16="http://schemas.microsoft.com/office/drawing/2014/main" xmlns="" id="{6DC21193-5D3A-49A5-A3E7-EE3C7BE1D0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34411" y="4254880"/>
            <a:ext cx="5575832" cy="95913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0" rIns="0" bIns="0"/>
          <a:lstStyle/>
          <a:p>
            <a:pPr marL="342900" lvl="1" indent="-342900" algn="just">
              <a:buFont typeface="Arial" pitchFamily="34" charset="0"/>
              <a:buChar char="•"/>
            </a:pPr>
            <a:endParaRPr lang="ru-RU" sz="1200" dirty="0"/>
          </a:p>
        </p:txBody>
      </p:sp>
      <p:sp>
        <p:nvSpPr>
          <p:cNvPr id="15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682806" y="1523712"/>
            <a:ext cx="7536962" cy="81919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ОННАЯ МОДЕЛЬ</a:t>
            </a:r>
          </a:p>
          <a:p>
            <a:endParaRPr lang="ru-RU" sz="1800" b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800" b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ColumnContent">
            <a:extLst>
              <a:ext uri="{FF2B5EF4-FFF2-40B4-BE49-F238E27FC236}">
                <a16:creationId xmlns:a16="http://schemas.microsoft.com/office/drawing/2014/main" xmlns="" id="{6DC21193-5D3A-49A5-A3E7-EE3C7BE1D0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43935" y="2628971"/>
            <a:ext cx="5575833" cy="95913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0" rIns="0" bIns="0"/>
          <a:lstStyle/>
          <a:p>
            <a:pPr algn="just"/>
            <a:endParaRPr lang="ru-RU" sz="1200" dirty="0"/>
          </a:p>
        </p:txBody>
      </p:sp>
      <p:sp>
        <p:nvSpPr>
          <p:cNvPr id="18" name="TextColumnContent">
            <a:extLst>
              <a:ext uri="{FF2B5EF4-FFF2-40B4-BE49-F238E27FC236}">
                <a16:creationId xmlns:a16="http://schemas.microsoft.com/office/drawing/2014/main" xmlns="" id="{6DC21193-5D3A-49A5-A3E7-EE3C7BE1D0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43934" y="1867835"/>
            <a:ext cx="5785689" cy="95913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0" rIns="0" bIns="0"/>
          <a:lstStyle/>
          <a:p>
            <a:pPr algn="just"/>
            <a:endParaRPr lang="ru-RU" sz="1200" dirty="0"/>
          </a:p>
        </p:txBody>
      </p:sp>
      <p:pic>
        <p:nvPicPr>
          <p:cNvPr id="2050" name="Picture 2" descr="C:\Users\ПК\Dropbox\ГосУправление\Цифровые решения для регионов\consulting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068" y="4649083"/>
            <a:ext cx="1625224" cy="1421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 descr="Социальная сеть">
            <a:extLst>
              <a:ext uri="{FF2B5EF4-FFF2-40B4-BE49-F238E27FC236}">
                <a16:creationId xmlns:a16="http://schemas.microsoft.com/office/drawing/2014/main" xmlns="" id="{BAC774C8-2995-48AB-947E-C7D08909BDB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03250" y="1772539"/>
            <a:ext cx="1512445" cy="1512445"/>
          </a:xfrm>
          <a:prstGeom prst="rect">
            <a:avLst/>
          </a:prstGeom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2432802" y="4928404"/>
            <a:ext cx="6088148" cy="571229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данным разработчика в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втоматизированном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жиме возможно выстраивать наиболее оптимальный маршрут доставки пациента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lvl="1" indent="-342900" algn="just">
              <a:buFont typeface="Arial" pitchFamily="34" charset="0"/>
              <a:buChar char="•"/>
            </a:pP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0638" indent="571500" algn="just">
              <a:buFont typeface="Arial" charset="0"/>
              <a:buChar char="•"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2462766" y="3098652"/>
            <a:ext cx="6088148" cy="1026155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писок реципиентов: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гиональное министерство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дравоохранения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анции СМП, медицинские организации 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истема 112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0638" algn="just"/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2448759" y="1858834"/>
            <a:ext cx="6088148" cy="1138118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писок акцепторов:</a:t>
            </a:r>
          </a:p>
          <a:p>
            <a:pPr marL="342900" indent="-342900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НО «Агентство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ратегических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ициатив по продвижению новых проектов»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инистерство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ифрового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вития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гиона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0638" indent="571500" algn="just">
              <a:buFont typeface="Arial" charset="0"/>
              <a:buChar char="•"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104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 smtClean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>
                <a:solidFill>
                  <a:srgbClr val="F34840"/>
                </a:solidFill>
              </a:rPr>
              <a:t>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722D961E-AD5D-42BB-B69D-4B0519F98DDA}"/>
              </a:ext>
            </a:extLst>
          </p:cNvPr>
          <p:cNvSpPr txBox="1"/>
          <p:nvPr/>
        </p:nvSpPr>
        <p:spPr>
          <a:xfrm>
            <a:off x="682994" y="1393669"/>
            <a:ext cx="82225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"/>
            <a:r>
              <a:rPr lang="ru-RU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Ы</a:t>
            </a:r>
            <a:endParaRPr lang="ru-RU" b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</a:t>
            </a:r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ОБЛАСТИ</a:t>
            </a:r>
          </a:p>
          <a:p>
            <a:pPr algn="ctr"/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722D961E-AD5D-42BB-B69D-4B0519F98DDA}"/>
              </a:ext>
            </a:extLst>
          </p:cNvPr>
          <p:cNvSpPr txBox="1"/>
          <p:nvPr/>
        </p:nvSpPr>
        <p:spPr>
          <a:xfrm>
            <a:off x="682993" y="3573016"/>
            <a:ext cx="82225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"/>
            <a:r>
              <a:rPr lang="ru-RU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ЛИЯНИЕ НА ЦЕЛИ НАЦИОНАЛЬНОГО ПРОЕКТА</a:t>
            </a:r>
            <a:endParaRPr lang="ru-RU" b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 descr="C:\Users\ПК\Dropbox\ГосУправление\Цифровые решения для регионов\80224863b03643d320afb1c432f2f16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669" y="4139522"/>
            <a:ext cx="2013859" cy="1057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 descr="Сердцебиение">
            <a:extLst>
              <a:ext uri="{FF2B5EF4-FFF2-40B4-BE49-F238E27FC236}">
                <a16:creationId xmlns:a16="http://schemas.microsoft.com/office/drawing/2014/main" xmlns="" id="{B931F9A2-E4B6-4849-9EDB-52647B62AE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66879" y="1663158"/>
            <a:ext cx="2263541" cy="1333794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3686174" y="1564568"/>
            <a:ext cx="4846265" cy="511645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638"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нижение среднего времени 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езда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/доставки ( по оценке разработчика)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3673474" y="2158877"/>
            <a:ext cx="4846264" cy="499777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638"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нижение времени 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езда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бригады СМП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10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% ( по оценке разработчика)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xmlns="" id="{B0E1BC99-967C-4027-965E-6A08673CD080}"/>
              </a:ext>
            </a:extLst>
          </p:cNvPr>
          <p:cNvSpPr/>
          <p:nvPr/>
        </p:nvSpPr>
        <p:spPr>
          <a:xfrm>
            <a:off x="3415304" y="1422519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</a:t>
            </a: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xmlns="" id="{B0E1BC99-967C-4027-965E-6A08673CD080}"/>
              </a:ext>
            </a:extLst>
          </p:cNvPr>
          <p:cNvSpPr/>
          <p:nvPr/>
        </p:nvSpPr>
        <p:spPr>
          <a:xfrm>
            <a:off x="3415304" y="1952625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2</a:t>
            </a:r>
            <a:endParaRPr lang="ru-RU" sz="1200" dirty="0"/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3667123" y="2781432"/>
            <a:ext cx="4858965" cy="575559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638" algn="just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кономия бюджетных средств за счёт использования открытого и свободно распространяемого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</a:p>
          <a:p>
            <a:pPr marL="20638" algn="just"/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2088" indent="-171450" algn="just">
              <a:buFont typeface="Arial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2507184" y="4365105"/>
            <a:ext cx="6083680" cy="720079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638"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ект может косвенно влиять  на достижение национальных проектов «Здравоохранение» и «Демография»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xmlns="" id="{B0E1BC99-967C-4027-965E-6A08673CD080}"/>
              </a:ext>
            </a:extLst>
          </p:cNvPr>
          <p:cNvSpPr/>
          <p:nvPr/>
        </p:nvSpPr>
        <p:spPr>
          <a:xfrm>
            <a:off x="3415304" y="2658654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3</a:t>
            </a:r>
          </a:p>
        </p:txBody>
      </p:sp>
      <p:pic>
        <p:nvPicPr>
          <p:cNvPr id="1026" name="Picture 2" descr="C:\Users\kgefre_467\Pictures\демография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5373216"/>
            <a:ext cx="1981215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2634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 smtClean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>
                <a:solidFill>
                  <a:srgbClr val="F34840"/>
                </a:solidFill>
              </a:rPr>
              <a:t>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722D961E-AD5D-42BB-B69D-4B0519F98DDA}"/>
              </a:ext>
            </a:extLst>
          </p:cNvPr>
          <p:cNvSpPr txBox="1"/>
          <p:nvPr/>
        </p:nvSpPr>
        <p:spPr>
          <a:xfrm>
            <a:off x="682994" y="1393669"/>
            <a:ext cx="82225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"/>
            <a:r>
              <a:rPr lang="ru-RU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ИСАНИЕ ТЕХНИЧЕСКОГО РЕШЕНИЯ</a:t>
            </a:r>
            <a:endParaRPr lang="ru-RU" b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</a:t>
            </a:r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ОБЛАСТИ</a:t>
            </a:r>
          </a:p>
          <a:p>
            <a:pPr algn="ctr"/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2448760" y="1906915"/>
            <a:ext cx="6083680" cy="1882125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638" algn="just"/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пользование наборов данных: </a:t>
            </a:r>
          </a:p>
          <a:p>
            <a:pPr marL="192088" indent="-171450" algn="just"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ео-информацией о транспортной топологии </a:t>
            </a:r>
          </a:p>
          <a:p>
            <a:pPr marL="192088" indent="-171450" algn="just"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ео-позициями точек предоставления медицинских сервисов и пунктов СМП </a:t>
            </a:r>
          </a:p>
          <a:p>
            <a:pPr marL="192088" indent="-171450" algn="just"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анными федеральной адресной системы </a:t>
            </a:r>
          </a:p>
          <a:p>
            <a:pPr marL="192088" indent="-171450" algn="just"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бором данных транспортной инфраструктуры </a:t>
            </a:r>
          </a:p>
          <a:p>
            <a:pPr marL="192088" indent="-171450" algn="just"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истема разработана для автономной работы без обращения к внешним сервисам</a:t>
            </a:r>
          </a:p>
          <a:p>
            <a:pPr marL="20638" algn="just"/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2088" indent="-171450" algn="just">
              <a:buFont typeface="Arial" pitchFamily="34" charset="0"/>
              <a:buChar char="•"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2493022" y="4171442"/>
            <a:ext cx="6083678" cy="1633822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638" algn="just"/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а для анализа</a:t>
            </a:r>
          </a:p>
          <a:p>
            <a:pPr marL="192088" indent="-171450" algn="just"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гиональная транспортная инфраструктура</a:t>
            </a:r>
          </a:p>
          <a:p>
            <a:pPr marL="192088" indent="-171450" algn="just"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ложившаяся дорожная ситуация</a:t>
            </a:r>
          </a:p>
          <a:p>
            <a:pPr marL="192088" indent="-171450" algn="just"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нятие решения о направлении пациента в медицинское учреждение на основе текущей транспортной топологии и доступных ресурсов медицинских организаций</a:t>
            </a:r>
          </a:p>
          <a:p>
            <a:pPr marL="192088" indent="-171450" algn="just">
              <a:buFontTx/>
              <a:buChar char="-"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2088" indent="-171450" algn="just">
              <a:buFontTx/>
              <a:buChar char="-"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2088" indent="-171450" algn="just">
              <a:buFontTx/>
              <a:buChar char="-"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0638" indent="571500" algn="just">
              <a:buFont typeface="Arial" charset="0"/>
              <a:buChar char="•"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" name="Рисунок 9" descr="Облачные вычисления">
            <a:extLst>
              <a:ext uri="{FF2B5EF4-FFF2-40B4-BE49-F238E27FC236}">
                <a16:creationId xmlns:a16="http://schemas.microsoft.com/office/drawing/2014/main" xmlns="" id="{D33C0437-87FD-462E-986A-610354D4B2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52450" y="2795650"/>
            <a:ext cx="1729099" cy="1729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38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 smtClean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>
                <a:solidFill>
                  <a:srgbClr val="F34840"/>
                </a:solidFill>
              </a:rPr>
              <a:t>5</a:t>
            </a:r>
          </a:p>
        </p:txBody>
      </p:sp>
      <p:sp>
        <p:nvSpPr>
          <p:cNvPr id="16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756138" y="1408837"/>
            <a:ext cx="7536962" cy="50799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ФОРМА - ТЕХНОЛОГИИ</a:t>
            </a:r>
            <a:endParaRPr lang="ru-RU" sz="1800" b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ColumnContent">
            <a:extLst>
              <a:ext uri="{FF2B5EF4-FFF2-40B4-BE49-F238E27FC236}">
                <a16:creationId xmlns="" xmlns:a16="http://schemas.microsoft.com/office/drawing/2014/main" id="{64C57403-F0B4-42DE-A315-5C9086C561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6383" y="1360632"/>
            <a:ext cx="8175825" cy="37084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lvl="0">
              <a:buClr>
                <a:srgbClr val="C00000"/>
              </a:buClr>
            </a:pPr>
            <a:endParaRPr lang="en-US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8975" lvl="2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</a:t>
            </a:r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ОБЛАСТИ</a:t>
            </a:r>
          </a:p>
          <a:p>
            <a:pPr algn="ctr"/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0341" y="3138632"/>
            <a:ext cx="6422349" cy="3484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ColumnContent">
            <a:extLst>
              <a:ext uri="{FF2B5EF4-FFF2-40B4-BE49-F238E27FC236}">
                <a16:creationId xmlns:a16="http://schemas.microsoft.com/office/drawing/2014/main" xmlns="" id="{6DC21193-5D3A-49A5-A3E7-EE3C7BE1D0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6138" y="1878864"/>
            <a:ext cx="7254506" cy="95913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0" rIns="0" bIns="0"/>
          <a:lstStyle/>
          <a:p>
            <a:pPr marL="342900" lvl="1" indent="-342900" algn="just">
              <a:buFont typeface="Arial" pitchFamily="34" charset="0"/>
              <a:buChar char="•"/>
            </a:pPr>
            <a:endParaRPr lang="ru-RU" sz="1200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2524124" y="1868626"/>
            <a:ext cx="6008316" cy="1404829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lvl="1" indent="-342900" algn="just"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пользованные технологии: - языки программирования </a:t>
            </a:r>
            <a:r>
              <a:rPr lang="en-US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Python3, </a:t>
            </a:r>
            <a:r>
              <a:rPr lang="en-US" sz="1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Javascript</a:t>
            </a:r>
            <a:r>
              <a:rPr lang="en-US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HTML5, SVG,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Д </a:t>
            </a:r>
            <a:r>
              <a:rPr lang="en-US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MySQL (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озможна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ез</a:t>
            </a:r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шовная миграция на </a:t>
            </a:r>
            <a:r>
              <a:rPr lang="en-US" sz="1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PostgreSQL</a:t>
            </a:r>
            <a:r>
              <a:rPr lang="en-US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Oracle) 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lvl="1" indent="-342900" algn="just"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иблиотеки и компоненты сторонних разработчиков </a:t>
            </a:r>
          </a:p>
          <a:p>
            <a:pPr marL="342900" lvl="1" indent="-342900" algn="just">
              <a:buFont typeface="Arial" pitchFamily="34" charset="0"/>
              <a:buChar char="•"/>
            </a:pPr>
            <a:r>
              <a:rPr lang="en-US" sz="1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Yandex</a:t>
            </a:r>
            <a:r>
              <a:rPr lang="en-US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Geocoder</a:t>
            </a:r>
            <a:r>
              <a:rPr lang="en-US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OSM </a:t>
            </a:r>
            <a:r>
              <a:rPr lang="en-US" sz="1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Geolocator</a:t>
            </a:r>
            <a:r>
              <a:rPr lang="en-US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342900" lvl="1" indent="-342900" algn="just"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реда для запуска - кроссплатформенная, </a:t>
            </a:r>
            <a:r>
              <a:rPr lang="en-US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web-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ервер</a:t>
            </a:r>
          </a:p>
        </p:txBody>
      </p:sp>
      <p:pic>
        <p:nvPicPr>
          <p:cNvPr id="11" name="Рисунок 10" descr="Интернет">
            <a:extLst>
              <a:ext uri="{FF2B5EF4-FFF2-40B4-BE49-F238E27FC236}">
                <a16:creationId xmlns:a16="http://schemas.microsoft.com/office/drawing/2014/main" xmlns="" id="{C3614203-7A37-4EC3-B48B-E1D467EC7E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756138" y="1652694"/>
            <a:ext cx="1620761" cy="1620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742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 smtClean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 smtClean="0">
                <a:solidFill>
                  <a:srgbClr val="F34840"/>
                </a:solidFill>
              </a:rPr>
              <a:t>6</a:t>
            </a:r>
            <a:endParaRPr lang="ru-RU" altLang="ru-RU" sz="5000" dirty="0">
              <a:solidFill>
                <a:srgbClr val="F34840"/>
              </a:solidFill>
            </a:endParaRPr>
          </a:p>
        </p:txBody>
      </p:sp>
      <p:sp>
        <p:nvSpPr>
          <p:cNvPr id="16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683568" y="1534788"/>
            <a:ext cx="7536962" cy="598068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defTabSz="914400">
              <a:lnSpc>
                <a:spcPct val="90000"/>
              </a:lnSpc>
              <a:spcBef>
                <a:spcPct val="0"/>
              </a:spcBef>
              <a:buNone/>
              <a:defRPr b="1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Пример </a:t>
            </a:r>
            <a:r>
              <a:rPr lang="ru-RU" dirty="0"/>
              <a:t>использования проектного решения</a:t>
            </a:r>
            <a:r>
              <a:rPr lang="en-US" dirty="0"/>
              <a:t>: </a:t>
            </a:r>
            <a:r>
              <a:rPr lang="ru-RU" dirty="0"/>
              <a:t>автодорога М-10</a:t>
            </a:r>
          </a:p>
          <a:p>
            <a:endParaRPr lang="ru-RU" dirty="0"/>
          </a:p>
        </p:txBody>
      </p:sp>
      <p:sp>
        <p:nvSpPr>
          <p:cNvPr id="7" name="TextColumnContent">
            <a:extLst>
              <a:ext uri="{FF2B5EF4-FFF2-40B4-BE49-F238E27FC236}">
                <a16:creationId xmlns="" xmlns:a16="http://schemas.microsoft.com/office/drawing/2014/main" id="{64C57403-F0B4-42DE-A315-5C9086C561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6383" y="1360632"/>
            <a:ext cx="8175825" cy="37084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lvl="0" defTabSz="914400">
              <a:lnSpc>
                <a:spcPct val="90000"/>
              </a:lnSpc>
              <a:spcBef>
                <a:spcPct val="0"/>
              </a:spcBef>
              <a:buClr>
                <a:srgbClr val="C00000"/>
              </a:buClr>
            </a:pPr>
            <a:endParaRPr lang="en-US" b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8975" lvl="2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</a:t>
            </a:r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ОБЛАСТИ</a:t>
            </a:r>
          </a:p>
          <a:p>
            <a:pPr algn="ctr"/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708" y="1717106"/>
            <a:ext cx="4362663" cy="5043239"/>
          </a:xfrm>
          <a:prstGeom prst="rect">
            <a:avLst/>
          </a:prstGeom>
        </p:spPr>
      </p:pic>
      <p:cxnSp>
        <p:nvCxnSpPr>
          <p:cNvPr id="12" name="Прямая соединительная линия 11"/>
          <p:cNvCxnSpPr/>
          <p:nvPr/>
        </p:nvCxnSpPr>
        <p:spPr>
          <a:xfrm>
            <a:off x="5204844" y="5583176"/>
            <a:ext cx="318473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5611807" y="5398510"/>
            <a:ext cx="21588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асчетное значение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5210988" y="5253698"/>
            <a:ext cx="318473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617951" y="5069032"/>
            <a:ext cx="24973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Нормативное значение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4033177" y="1985172"/>
            <a:ext cx="4505548" cy="579731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638"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здан связный граф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втомобильной дороги </a:t>
            </a: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 использованием именованного перечня ФАД, автодорог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гионального и местного значения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3990394" y="2666259"/>
            <a:ext cx="4505548" cy="426610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638"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полнено адресное пространство а/д за счет учета структуры связанных с М-10  (207 точек)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4033722" y="3234055"/>
            <a:ext cx="4505548" cy="452119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638"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ализован режим расчёта зон ответственности на основе фактической транспортной и сервисной доступности</a:t>
            </a:r>
            <a:endParaRPr lang="ru-RU" sz="2800" dirty="0">
              <a:solidFill>
                <a:schemeClr val="tx1"/>
              </a:solidFill>
              <a:latin typeface="Times New Roman" pitchFamily="18" charset="0"/>
              <a:ea typeface="Open Sans" panose="020B0606030504020204" pitchFamily="34" charset="0"/>
              <a:cs typeface="Times New Roman" pitchFamily="18" charset="0"/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xmlns="" id="{B0E1BC99-967C-4027-965E-6A08673CD080}"/>
              </a:ext>
            </a:extLst>
          </p:cNvPr>
          <p:cNvSpPr/>
          <p:nvPr/>
        </p:nvSpPr>
        <p:spPr>
          <a:xfrm>
            <a:off x="3829058" y="1834545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</a:t>
            </a: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xmlns="" id="{B0E1BC99-967C-4027-965E-6A08673CD080}"/>
              </a:ext>
            </a:extLst>
          </p:cNvPr>
          <p:cNvSpPr/>
          <p:nvPr/>
        </p:nvSpPr>
        <p:spPr>
          <a:xfrm>
            <a:off x="3816733" y="2515631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2</a:t>
            </a:r>
            <a:endParaRPr lang="ru-RU" sz="1200" dirty="0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xmlns="" id="{B0E1BC99-967C-4027-965E-6A08673CD080}"/>
              </a:ext>
            </a:extLst>
          </p:cNvPr>
          <p:cNvSpPr/>
          <p:nvPr/>
        </p:nvSpPr>
        <p:spPr>
          <a:xfrm>
            <a:off x="3816732" y="3083427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48523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 smtClean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>
                <a:solidFill>
                  <a:srgbClr val="F34840"/>
                </a:solidFill>
              </a:rPr>
              <a:t>7</a:t>
            </a:r>
          </a:p>
        </p:txBody>
      </p:sp>
      <p:sp>
        <p:nvSpPr>
          <p:cNvPr id="7" name="TextColumnContent">
            <a:extLst>
              <a:ext uri="{FF2B5EF4-FFF2-40B4-BE49-F238E27FC236}">
                <a16:creationId xmlns="" xmlns:a16="http://schemas.microsoft.com/office/drawing/2014/main" id="{64C57403-F0B4-42DE-A315-5C9086C561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6383" y="1360632"/>
            <a:ext cx="8175825" cy="37084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lvl="0">
              <a:buClr>
                <a:srgbClr val="C00000"/>
              </a:buClr>
            </a:pPr>
            <a:endParaRPr lang="en-US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8975" lvl="2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</a:t>
            </a:r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ОБЛАСТИ</a:t>
            </a:r>
          </a:p>
          <a:p>
            <a:pPr algn="ctr"/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ColumnContent">
            <a:extLst>
              <a:ext uri="{FF2B5EF4-FFF2-40B4-BE49-F238E27FC236}">
                <a16:creationId xmlns="" xmlns:a16="http://schemas.microsoft.com/office/drawing/2014/main" id="{64C57403-F0B4-42DE-A315-5C9086C561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6383" y="1360632"/>
            <a:ext cx="8175825" cy="37084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lvl="0" defTabSz="914400">
              <a:lnSpc>
                <a:spcPct val="90000"/>
              </a:lnSpc>
              <a:spcBef>
                <a:spcPct val="0"/>
              </a:spcBef>
              <a:buClr>
                <a:srgbClr val="C00000"/>
              </a:buClr>
            </a:pPr>
            <a:endParaRPr lang="en-US" b="1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8975" lvl="2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708" y="1717106"/>
            <a:ext cx="4362663" cy="5043239"/>
          </a:xfrm>
          <a:prstGeom prst="rect">
            <a:avLst/>
          </a:prstGeom>
        </p:spPr>
      </p:pic>
      <p:cxnSp>
        <p:nvCxnSpPr>
          <p:cNvPr id="17" name="Прямая соединительная линия 16"/>
          <p:cNvCxnSpPr/>
          <p:nvPr/>
        </p:nvCxnSpPr>
        <p:spPr>
          <a:xfrm>
            <a:off x="5204844" y="5583176"/>
            <a:ext cx="318473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5611807" y="5398510"/>
            <a:ext cx="21588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асчетное значение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5210988" y="5253698"/>
            <a:ext cx="318473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5617951" y="5069032"/>
            <a:ext cx="24973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Нормативное значение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4033722" y="1978896"/>
            <a:ext cx="4498718" cy="1554879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638"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пределены расхождения НМД с расчётными значениями (распоряжение Администрации Новгородской области от 03.09.2008 №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14-рз </a:t>
            </a: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"О перечне медицинских организаций, осуществляющих организацию оказания медицинской помощи пострадавшим при дорожно-транспортных происшествиях, произошедших на участках федеральной автомобильной дороги М-10 "Россия" (зонах ответственности)</a:t>
            </a:r>
          </a:p>
          <a:p>
            <a:pPr marL="20638" algn="just"/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0638" indent="571500">
              <a:buFont typeface="Arial" charset="0"/>
              <a:buChar char="•"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0638" indent="571500">
              <a:buFont typeface="Arial" charset="0"/>
              <a:buChar char="•"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0638" indent="571500">
              <a:buFont typeface="Arial" charset="0"/>
              <a:buChar char="•"/>
            </a:pPr>
            <a:endParaRPr lang="ru-RU" sz="1600" dirty="0">
              <a:solidFill>
                <a:schemeClr val="tx1"/>
              </a:solidFill>
              <a:latin typeface="Times New Roman" pitchFamily="18" charset="0"/>
              <a:ea typeface="Open Sans" panose="020B0606030504020204" pitchFamily="34" charset="0"/>
              <a:cs typeface="Times New Roman" pitchFamily="18" charset="0"/>
            </a:endParaRPr>
          </a:p>
          <a:p>
            <a:pPr marL="20638" algn="just"/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CE7E32F3-FCB3-43E1-90BD-815ED7C98055}"/>
              </a:ext>
            </a:extLst>
          </p:cNvPr>
          <p:cNvSpPr/>
          <p:nvPr/>
        </p:nvSpPr>
        <p:spPr>
          <a:xfrm>
            <a:off x="4033722" y="3754782"/>
            <a:ext cx="4498718" cy="617193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0638"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пределен опытный участок апробации</a:t>
            </a:r>
            <a:r>
              <a:rPr lang="en-US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рификация зон ответственности СМП в районах прохождения ФАД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-10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xmlns="" id="{B0E1BC99-967C-4027-965E-6A08673CD080}"/>
              </a:ext>
            </a:extLst>
          </p:cNvPr>
          <p:cNvSpPr/>
          <p:nvPr/>
        </p:nvSpPr>
        <p:spPr>
          <a:xfrm>
            <a:off x="3711545" y="1836848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4</a:t>
            </a: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xmlns="" id="{B0E1BC99-967C-4027-965E-6A08673CD080}"/>
              </a:ext>
            </a:extLst>
          </p:cNvPr>
          <p:cNvSpPr/>
          <p:nvPr/>
        </p:nvSpPr>
        <p:spPr>
          <a:xfrm>
            <a:off x="3711544" y="3604154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5</a:t>
            </a:r>
          </a:p>
        </p:txBody>
      </p:sp>
      <p:sp>
        <p:nvSpPr>
          <p:cNvPr id="28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683568" y="1534788"/>
            <a:ext cx="7536962" cy="598068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defTabSz="914400">
              <a:lnSpc>
                <a:spcPct val="90000"/>
              </a:lnSpc>
              <a:spcBef>
                <a:spcPct val="0"/>
              </a:spcBef>
              <a:buNone/>
              <a:defRPr b="1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Пример </a:t>
            </a:r>
            <a:r>
              <a:rPr lang="ru-RU" dirty="0"/>
              <a:t>использования проектного решения</a:t>
            </a:r>
            <a:r>
              <a:rPr lang="en-US" dirty="0"/>
              <a:t>: </a:t>
            </a:r>
            <a:r>
              <a:rPr lang="ru-RU" dirty="0"/>
              <a:t>автодорога М-10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5127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7500" y="263724"/>
            <a:ext cx="711200" cy="823920"/>
          </a:xfrm>
          <a:prstGeom prst="rect">
            <a:avLst/>
          </a:prstGeom>
        </p:spPr>
      </p:pic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03250" y="222047"/>
            <a:ext cx="12954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5000" dirty="0" smtClean="0">
                <a:solidFill>
                  <a:schemeClr val="bg2">
                    <a:lumMod val="75000"/>
                  </a:schemeClr>
                </a:solidFill>
              </a:rPr>
              <a:t>0</a:t>
            </a:r>
            <a:r>
              <a:rPr lang="ru-RU" altLang="ru-RU" sz="5000" dirty="0">
                <a:solidFill>
                  <a:srgbClr val="F34840"/>
                </a:solidFill>
              </a:rPr>
              <a:t>8</a:t>
            </a:r>
          </a:p>
        </p:txBody>
      </p:sp>
      <p:sp>
        <p:nvSpPr>
          <p:cNvPr id="16" name="Заголовок 6">
            <a:extLst>
              <a:ext uri="{FF2B5EF4-FFF2-40B4-BE49-F238E27FC236}">
                <a16:creationId xmlns="" xmlns:a16="http://schemas.microsoft.com/office/drawing/2014/main" id="{D9E4398A-F57C-44F1-B6BC-5FE6C95B46E5}"/>
              </a:ext>
            </a:extLst>
          </p:cNvPr>
          <p:cNvSpPr txBox="1">
            <a:spLocks/>
          </p:cNvSpPr>
          <p:nvPr/>
        </p:nvSpPr>
        <p:spPr>
          <a:xfrm>
            <a:off x="756138" y="1360631"/>
            <a:ext cx="7536962" cy="50799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РОЖНАЯ КАРТА</a:t>
            </a:r>
          </a:p>
        </p:txBody>
      </p:sp>
      <p:sp>
        <p:nvSpPr>
          <p:cNvPr id="7" name="TextColumnContent">
            <a:extLst>
              <a:ext uri="{FF2B5EF4-FFF2-40B4-BE49-F238E27FC236}">
                <a16:creationId xmlns="" xmlns:a16="http://schemas.microsoft.com/office/drawing/2014/main" id="{64C57403-F0B4-42DE-A315-5C9086C561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6383" y="1360632"/>
            <a:ext cx="8175825" cy="37084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lvl="0">
              <a:buClr>
                <a:srgbClr val="C00000"/>
              </a:buClr>
            </a:pPr>
            <a:endParaRPr lang="en-US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8975" lvl="2" indent="-285750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2838451" y="479906"/>
            <a:ext cx="5276850" cy="267137"/>
          </a:xfrm>
          <a:prstGeom prst="rect">
            <a:avLst/>
          </a:prstGeom>
          <a:noFill/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4400" kern="1200" dirty="0">
                <a:solidFill>
                  <a:srgbClr val="002060"/>
                </a:solidFill>
                <a:latin typeface="Fedra Sans Pro Bold" panose="020B08040400000200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sz="1400" spc="40" dirty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ПРАВИТЕЛЬСТВО НОВГОРОДСКОЙ </a:t>
            </a:r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ОБЛАСТИ</a:t>
            </a:r>
          </a:p>
          <a:p>
            <a:pPr algn="ctr"/>
            <a:r>
              <a:rPr lang="ru-RU" sz="1400" spc="40" dirty="0" smtClean="0">
                <a:solidFill>
                  <a:srgbClr val="F34840"/>
                </a:solidFill>
                <a:latin typeface="Arial" panose="020B0604020202020204" pitchFamily="34" charset="0"/>
                <a:cs typeface="Arial" panose="020B0604020202020204" pitchFamily="34" charset="0"/>
                <a:sym typeface="Rasa Medium"/>
              </a:rPr>
              <a:t>Министерство здравоохранения Новгородской области</a:t>
            </a:r>
            <a:endParaRPr lang="ru-RU" sz="1400" spc="40" dirty="0">
              <a:solidFill>
                <a:srgbClr val="F348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37">
            <a:extLst>
              <a:ext uri="{FF2B5EF4-FFF2-40B4-BE49-F238E27FC236}">
                <a16:creationId xmlns:a16="http://schemas.microsoft.com/office/drawing/2014/main" xmlns="" id="{A670C3FD-1CF4-479F-8721-91F861AEBF0C}"/>
              </a:ext>
            </a:extLst>
          </p:cNvPr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gray">
          <a:xfrm>
            <a:off x="713682" y="2441673"/>
            <a:ext cx="245928" cy="1053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endParaRPr lang="en-US" sz="3000" dirty="0">
              <a:solidFill>
                <a:srgbClr val="06C245"/>
              </a:solidFill>
              <a:latin typeface="Arial Unicode MS"/>
              <a:ea typeface="Arial Unicode MS"/>
              <a:cs typeface="Arial Unicode MS"/>
              <a:sym typeface="Arial Unicode MS"/>
            </a:endParaRPr>
          </a:p>
        </p:txBody>
      </p:sp>
      <p:sp>
        <p:nvSpPr>
          <p:cNvPr id="15" name="Rectangle 37">
            <a:extLst>
              <a:ext uri="{FF2B5EF4-FFF2-40B4-BE49-F238E27FC236}">
                <a16:creationId xmlns:a16="http://schemas.microsoft.com/office/drawing/2014/main" xmlns="" id="{A670C3FD-1CF4-479F-8721-91F861AEBF0C}"/>
              </a:ext>
            </a:extLst>
          </p:cNvPr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gray">
          <a:xfrm>
            <a:off x="739387" y="2818372"/>
            <a:ext cx="194518" cy="1400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endParaRPr lang="en-US" sz="3000" dirty="0">
              <a:solidFill>
                <a:srgbClr val="06C245"/>
              </a:solidFill>
              <a:latin typeface="Arial Unicode MS"/>
              <a:ea typeface="Arial Unicode MS"/>
              <a:cs typeface="Arial Unicode MS"/>
              <a:sym typeface="Arial Unicode MS"/>
            </a:endParaRPr>
          </a:p>
        </p:txBody>
      </p:sp>
      <p:sp>
        <p:nvSpPr>
          <p:cNvPr id="17" name="Rectangle 37">
            <a:extLst>
              <a:ext uri="{FF2B5EF4-FFF2-40B4-BE49-F238E27FC236}">
                <a16:creationId xmlns:a16="http://schemas.microsoft.com/office/drawing/2014/main" xmlns="" id="{A670C3FD-1CF4-479F-8721-91F861AEBF0C}"/>
              </a:ext>
            </a:extLst>
          </p:cNvPr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gray">
          <a:xfrm>
            <a:off x="723288" y="2649934"/>
            <a:ext cx="194518" cy="1400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endParaRPr lang="en-US" sz="3000" dirty="0">
              <a:solidFill>
                <a:srgbClr val="06C245"/>
              </a:solidFill>
              <a:latin typeface="Arial Unicode MS"/>
              <a:ea typeface="Arial Unicode MS"/>
              <a:cs typeface="Arial Unicode MS"/>
              <a:sym typeface="Arial Unicode MS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30239890-C13C-430B-95F6-853AAE19239B}"/>
              </a:ext>
            </a:extLst>
          </p:cNvPr>
          <p:cNvSpPr/>
          <p:nvPr/>
        </p:nvSpPr>
        <p:spPr>
          <a:xfrm>
            <a:off x="933905" y="3213738"/>
            <a:ext cx="7607014" cy="791325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Необходимые ресурсы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ea typeface="Open Sans" panose="020B0606030504020204" pitchFamily="34" charset="0"/>
              <a:cs typeface="Times New Roman" pitchFamily="18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Команда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разработчиков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ea typeface="Open Sans" panose="020B0606030504020204" pitchFamily="34" charset="0"/>
              <a:cs typeface="Times New Roman" pitchFamily="18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Поддержка региональных ОИВ</a:t>
            </a:r>
          </a:p>
          <a:p>
            <a:pPr marL="571500" lvl="1" indent="-4572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9151D28D-3560-4C5D-9C44-72594B6D9EDE}"/>
              </a:ext>
            </a:extLst>
          </p:cNvPr>
          <p:cNvSpPr/>
          <p:nvPr/>
        </p:nvSpPr>
        <p:spPr>
          <a:xfrm>
            <a:off x="925427" y="1858513"/>
            <a:ext cx="7607013" cy="1205691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Ключевые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этапы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ea typeface="Open Sans" panose="020B0606030504020204" pitchFamily="34" charset="0"/>
              <a:cs typeface="Times New Roman" pitchFamily="18" charset="0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Разработчиком собраны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и загружены региональные данные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из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открытых источников (</a:t>
            </a:r>
            <a:r>
              <a:rPr lang="en-US" sz="1400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GIS,FIAS, </a:t>
            </a:r>
            <a:r>
              <a:rPr lang="en-US" sz="1400" dirty="0" err="1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opendata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, </a:t>
            </a:r>
            <a:r>
              <a:rPr lang="en-US" sz="1400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MED DIC,MED SRC)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Проведена встреча разработчика  с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представителями 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СМП Новгородской области</a:t>
            </a:r>
            <a:endParaRPr lang="en-US" sz="1400" dirty="0">
              <a:solidFill>
                <a:schemeClr val="tx1"/>
              </a:solidFill>
              <a:latin typeface="Times New Roman" pitchFamily="18" charset="0"/>
              <a:ea typeface="Open Sans" panose="020B0606030504020204" pitchFamily="34" charset="0"/>
              <a:cs typeface="Times New Roman" pitchFamily="18" charset="0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Разработчиком определен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участок апробации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( М-10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)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ea typeface="Open Sans" panose="020B0606030504020204" pitchFamily="34" charset="0"/>
              <a:cs typeface="Times New Roman" pitchFamily="18" charset="0"/>
            </a:endParaRP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xmlns="" id="{33DE7188-90D6-4BF2-A703-929647D46CC0}"/>
              </a:ext>
            </a:extLst>
          </p:cNvPr>
          <p:cNvSpPr/>
          <p:nvPr/>
        </p:nvSpPr>
        <p:spPr>
          <a:xfrm>
            <a:off x="653491" y="1765985"/>
            <a:ext cx="322177" cy="2905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1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xmlns="" id="{C3BD025E-E662-4E88-98A6-DD0640F9CB37}"/>
              </a:ext>
            </a:extLst>
          </p:cNvPr>
          <p:cNvSpPr/>
          <p:nvPr/>
        </p:nvSpPr>
        <p:spPr>
          <a:xfrm>
            <a:off x="739387" y="3064204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07D7AA50-30E7-48D2-9976-1AE5517968FC}"/>
              </a:ext>
            </a:extLst>
          </p:cNvPr>
          <p:cNvSpPr/>
          <p:nvPr/>
        </p:nvSpPr>
        <p:spPr>
          <a:xfrm>
            <a:off x="900475" y="4219000"/>
            <a:ext cx="7614635" cy="850032"/>
          </a:xfrm>
          <a:prstGeom prst="rect">
            <a:avLst/>
          </a:prstGeom>
          <a:solidFill>
            <a:srgbClr val="E2E2E2"/>
          </a:solidFill>
          <a:ln w="9525">
            <a:solidFill>
              <a:srgbClr val="AF170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Время на реализацию апробации</a:t>
            </a:r>
            <a:endParaRPr lang="en-US" sz="1400" b="1" dirty="0">
              <a:solidFill>
                <a:schemeClr val="tx1"/>
              </a:solidFill>
              <a:latin typeface="Times New Roman" pitchFamily="18" charset="0"/>
              <a:ea typeface="Open Sans" panose="020B0606030504020204" pitchFamily="34" charset="0"/>
              <a:cs typeface="Times New Roman" pitchFamily="18" charset="0"/>
            </a:endParaRPr>
          </a:p>
          <a:p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Сбор данных для решения – 1 месяц. Разработка решения - 2 месяца. Развертывание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системы-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2 недели.</a:t>
            </a:r>
            <a:r>
              <a:rPr lang="en-US" sz="1400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ea typeface="Open Sans" panose="020B0606030504020204" pitchFamily="34" charset="0"/>
                <a:cs typeface="Times New Roman" pitchFamily="18" charset="0"/>
              </a:rPr>
              <a:t>Пилотная апробация - 2 месяца.</a:t>
            </a:r>
          </a:p>
          <a:p>
            <a:pPr algn="just"/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xmlns="" id="{18592EB4-25B4-41C5-8A7D-C01775EFAF81}"/>
              </a:ext>
            </a:extLst>
          </p:cNvPr>
          <p:cNvSpPr/>
          <p:nvPr/>
        </p:nvSpPr>
        <p:spPr>
          <a:xfrm>
            <a:off x="738775" y="4093358"/>
            <a:ext cx="322177" cy="3012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507043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YZ.k2DSlSgGxWJQcJ_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YZ.k2DSlSgGxWJQcJ_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YZ.k2DSlSgGxWJQcJ_bQ"/>
</p:tagLst>
</file>

<file path=ppt/theme/theme1.xml><?xml version="1.0" encoding="utf-8"?>
<a:theme xmlns:a="http://schemas.openxmlformats.org/drawingml/2006/main" name="Правительство НО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